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4" r:id="rId5"/>
  </p:sldMasterIdLst>
  <p:notesMasterIdLst>
    <p:notesMasterId r:id="rId15"/>
  </p:notesMasterIdLst>
  <p:handoutMasterIdLst>
    <p:handoutMasterId r:id="rId16"/>
  </p:handoutMasterIdLst>
  <p:sldIdLst>
    <p:sldId id="456" r:id="rId6"/>
    <p:sldId id="458" r:id="rId7"/>
    <p:sldId id="459" r:id="rId8"/>
    <p:sldId id="460" r:id="rId9"/>
    <p:sldId id="462" r:id="rId10"/>
    <p:sldId id="464" r:id="rId11"/>
    <p:sldId id="463" r:id="rId12"/>
    <p:sldId id="461" r:id="rId13"/>
    <p:sldId id="339" r:id="rId14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31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pos="3120">
          <p15:clr>
            <a:srgbClr val="A4A3A4"/>
          </p15:clr>
        </p15:guide>
        <p15:guide id="4" pos="217">
          <p15:clr>
            <a:srgbClr val="A4A3A4"/>
          </p15:clr>
        </p15:guide>
        <p15:guide id="5" pos="6023">
          <p15:clr>
            <a:srgbClr val="A4A3A4"/>
          </p15:clr>
        </p15:guide>
        <p15:guide id="6" pos="3052">
          <p15:clr>
            <a:srgbClr val="A4A3A4"/>
          </p15:clr>
        </p15:guide>
        <p15:guide id="7" pos="3188">
          <p15:clr>
            <a:srgbClr val="A4A3A4"/>
          </p15:clr>
        </p15:guide>
        <p15:guide id="8" pos="449">
          <p15:clr>
            <a:srgbClr val="A4A3A4"/>
          </p15:clr>
        </p15:guide>
        <p15:guide id="9" pos="57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NGAI" initials="R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696"/>
    <a:srgbClr val="D1D3B1"/>
    <a:srgbClr val="E8E9D8"/>
    <a:srgbClr val="C9E9E8"/>
    <a:srgbClr val="B7DDD4"/>
    <a:srgbClr val="A91F5B"/>
    <a:srgbClr val="15645F"/>
    <a:srgbClr val="F1F8F6"/>
    <a:srgbClr val="71205F"/>
    <a:srgbClr val="7120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29" autoAdjust="0"/>
    <p:restoredTop sz="66667" autoAdjust="0"/>
  </p:normalViewPr>
  <p:slideViewPr>
    <p:cSldViewPr>
      <p:cViewPr varScale="1">
        <p:scale>
          <a:sx n="90" d="100"/>
          <a:sy n="90" d="100"/>
        </p:scale>
        <p:origin x="1260" y="90"/>
      </p:cViewPr>
      <p:guideLst>
        <p:guide orient="horz" pos="2631"/>
        <p:guide orient="horz" pos="935"/>
        <p:guide pos="3120"/>
        <p:guide pos="217"/>
        <p:guide pos="6023"/>
        <p:guide pos="3052"/>
        <p:guide pos="3188"/>
        <p:guide pos="449"/>
        <p:guide pos="57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3942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/>
              <a:t>© 2012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/>
          </a:p>
        </p:txBody>
      </p:sp>
    </p:spTree>
    <p:extLst>
      <p:ext uri="{BB962C8B-B14F-4D97-AF65-F5344CB8AC3E}">
        <p14:creationId xmlns:p14="http://schemas.microsoft.com/office/powerpoint/2010/main" val="267773631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531813" y="620713"/>
            <a:ext cx="5734050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153"/>
            <a:ext cx="6372865" cy="45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/>
              <a:t>© 2012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5976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1813" y="620713"/>
            <a:ext cx="5734050" cy="3970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2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1">
    <p:bg bwMode="invGray">
      <p:bgPr>
        <a:gradFill rotWithShape="1">
          <a:gsLst>
            <a:gs pos="0">
              <a:schemeClr val="bg1">
                <a:tint val="80000"/>
                <a:satMod val="300000"/>
              </a:schemeClr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1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527" y="-1308343"/>
            <a:ext cx="990631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331 w 10562411"/>
              <a:gd name="connsiteY7" fmla="*/ 2791 h 2958168"/>
              <a:gd name="connsiteX0" fmla="*/ 369416 w 10562411"/>
              <a:gd name="connsiteY0" fmla="*/ 207984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369416 w 10562411"/>
              <a:gd name="connsiteY7" fmla="*/ 207984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34490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34490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730 w 10560952"/>
              <a:gd name="connsiteY0" fmla="*/ 0 h 2958168"/>
              <a:gd name="connsiteX1" fmla="*/ 10560196 w 10560952"/>
              <a:gd name="connsiteY1" fmla="*/ 0 h 2958168"/>
              <a:gd name="connsiteX2" fmla="*/ 10559698 w 10560952"/>
              <a:gd name="connsiteY2" fmla="*/ 1476338 h 2958168"/>
              <a:gd name="connsiteX3" fmla="*/ 9287135 w 10560952"/>
              <a:gd name="connsiteY3" fmla="*/ 2153103 h 2958168"/>
              <a:gd name="connsiteX4" fmla="*/ 2316099 w 10560952"/>
              <a:gd name="connsiteY4" fmla="*/ 2159512 h 2958168"/>
              <a:gd name="connsiteX5" fmla="*/ 1179430 w 10560952"/>
              <a:gd name="connsiteY5" fmla="*/ 2958168 h 2958168"/>
              <a:gd name="connsiteX6" fmla="*/ 730 w 10560952"/>
              <a:gd name="connsiteY6" fmla="*/ 2174065 h 2958168"/>
              <a:gd name="connsiteX7" fmla="*/ 730 w 10560952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  <a:gd name="connsiteX0" fmla="*/ 2 w 10560224"/>
              <a:gd name="connsiteY0" fmla="*/ 0 h 2958168"/>
              <a:gd name="connsiteX1" fmla="*/ 10559468 w 10560224"/>
              <a:gd name="connsiteY1" fmla="*/ 0 h 2958168"/>
              <a:gd name="connsiteX2" fmla="*/ 10558970 w 10560224"/>
              <a:gd name="connsiteY2" fmla="*/ 1476338 h 2958168"/>
              <a:gd name="connsiteX3" fmla="*/ 9286407 w 10560224"/>
              <a:gd name="connsiteY3" fmla="*/ 2153103 h 2958168"/>
              <a:gd name="connsiteX4" fmla="*/ 2315371 w 10560224"/>
              <a:gd name="connsiteY4" fmla="*/ 2159512 h 2958168"/>
              <a:gd name="connsiteX5" fmla="*/ 1178702 w 10560224"/>
              <a:gd name="connsiteY5" fmla="*/ 2958168 h 2958168"/>
              <a:gd name="connsiteX6" fmla="*/ 2 w 10560224"/>
              <a:gd name="connsiteY6" fmla="*/ 2174065 h 2958168"/>
              <a:gd name="connsiteX7" fmla="*/ 0 w 10560224"/>
              <a:gd name="connsiteY7" fmla="*/ 203402 h 2958168"/>
              <a:gd name="connsiteX8" fmla="*/ 2 w 10560224"/>
              <a:gd name="connsiteY8" fmla="*/ 0 h 2958168"/>
              <a:gd name="connsiteX0" fmla="*/ 1759911 w 12320133"/>
              <a:gd name="connsiteY0" fmla="*/ 0 h 2958168"/>
              <a:gd name="connsiteX1" fmla="*/ 12319377 w 12320133"/>
              <a:gd name="connsiteY1" fmla="*/ 0 h 2958168"/>
              <a:gd name="connsiteX2" fmla="*/ 12318879 w 12320133"/>
              <a:gd name="connsiteY2" fmla="*/ 1476338 h 2958168"/>
              <a:gd name="connsiteX3" fmla="*/ 11046316 w 12320133"/>
              <a:gd name="connsiteY3" fmla="*/ 2153103 h 2958168"/>
              <a:gd name="connsiteX4" fmla="*/ 4075280 w 12320133"/>
              <a:gd name="connsiteY4" fmla="*/ 2159512 h 2958168"/>
              <a:gd name="connsiteX5" fmla="*/ 2938611 w 12320133"/>
              <a:gd name="connsiteY5" fmla="*/ 2958168 h 2958168"/>
              <a:gd name="connsiteX6" fmla="*/ 1759911 w 12320133"/>
              <a:gd name="connsiteY6" fmla="*/ 2174065 h 2958168"/>
              <a:gd name="connsiteX7" fmla="*/ 1759911 w 12320133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</a:schemeClr>
              </a:gs>
              <a:gs pos="93000">
                <a:schemeClr val="tx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3" name="Rectangle 572"/>
          <p:cNvSpPr/>
          <p:nvPr userDrawn="1"/>
        </p:nvSpPr>
        <p:spPr>
          <a:xfrm>
            <a:off x="0" y="6400800"/>
            <a:ext cx="9906000" cy="457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 userDrawn="1">
            <p:ph type="ctrTitle" hasCustomPrompt="1"/>
          </p:nvPr>
        </p:nvSpPr>
        <p:spPr bwMode="auto">
          <a:xfrm>
            <a:off x="4592961" y="3810000"/>
            <a:ext cx="4968552" cy="129614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300" b="0" kern="1200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592962" y="5334000"/>
            <a:ext cx="4949031" cy="792162"/>
          </a:xfrm>
          <a:noFill/>
          <a:ln w="9525">
            <a:noFill/>
            <a:miter lim="800000"/>
            <a:headEnd/>
            <a:tailEnd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180000" rIns="0" bIns="0" numCol="1" anchor="t" anchorCtr="0" compatLnSpc="1">
            <a:prstTxWarp prst="textNoShape">
              <a:avLst/>
            </a:prstTxWarp>
          </a:bodyPr>
          <a:lstStyle>
            <a:lvl1pPr marL="3175" indent="0" algn="r" defTabSz="714375" rtl="0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chemeClr val="tx2">
                  <a:lumMod val="50000"/>
                </a:schemeClr>
              </a:buClr>
              <a:buFont typeface="Wingdings" pitchFamily="2" charset="2"/>
              <a:buNone/>
              <a:defRPr lang="en-US" sz="2200" kern="1200" baseline="0" noProof="0" dirty="0">
                <a:solidFill>
                  <a:schemeClr val="accent1">
                    <a:lumMod val="75000"/>
                  </a:schemeClr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Master sub-title style</a:t>
            </a:r>
          </a:p>
        </p:txBody>
      </p:sp>
      <p:grpSp>
        <p:nvGrpSpPr>
          <p:cNvPr id="576" name="Group 569"/>
          <p:cNvGrpSpPr/>
          <p:nvPr userDrawn="1"/>
        </p:nvGrpSpPr>
        <p:grpSpPr>
          <a:xfrm rot="19517577">
            <a:off x="1590018" y="4387640"/>
            <a:ext cx="2013692" cy="1664126"/>
            <a:chOff x="3517901" y="3217863"/>
            <a:chExt cx="3895725" cy="3219450"/>
          </a:xfrm>
          <a:solidFill>
            <a:schemeClr val="bg2">
              <a:lumMod val="65000"/>
            </a:schemeClr>
          </a:solidFill>
        </p:grpSpPr>
        <p:grpSp>
          <p:nvGrpSpPr>
            <p:cNvPr id="578" name="Group 205"/>
            <p:cNvGrpSpPr>
              <a:grpSpLocks/>
            </p:cNvGrpSpPr>
            <p:nvPr userDrawn="1"/>
          </p:nvGrpSpPr>
          <p:grpSpPr bwMode="auto">
            <a:xfrm>
              <a:off x="3517901" y="3217863"/>
              <a:ext cx="3895725" cy="3219450"/>
              <a:chOff x="2216" y="2027"/>
              <a:chExt cx="2454" cy="2028"/>
            </a:xfrm>
            <a:grpFill/>
          </p:grpSpPr>
          <p:sp>
            <p:nvSpPr>
              <p:cNvPr id="1495" name="Freeform 5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6" name="Freeform 6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7" name="Freeform 7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8" name="Freeform 8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9" name="Freeform 9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0" name="Freeform 10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1" name="Freeform 11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2" name="Freeform 12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3" name="Freeform 13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4" name="Freeform 14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5" name="Freeform 15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6" name="Freeform 16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7" name="Freeform 17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8" name="Freeform 18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9" name="Freeform 19"/>
              <p:cNvSpPr>
                <a:spLocks/>
              </p:cNvSpPr>
              <p:nvPr userDrawn="1"/>
            </p:nvSpPr>
            <p:spPr bwMode="auto">
              <a:xfrm>
                <a:off x="4430" y="399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7" y="2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7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6" y="58"/>
                  </a:cxn>
                  <a:cxn ang="0">
                    <a:pos x="45" y="52"/>
                  </a:cxn>
                  <a:cxn ang="0">
                    <a:pos x="45" y="52"/>
                  </a:cxn>
                  <a:cxn ang="0">
                    <a:pos x="51" y="42"/>
                  </a:cxn>
                  <a:cxn ang="0">
                    <a:pos x="54" y="31"/>
                  </a:cxn>
                  <a:cxn ang="0">
                    <a:pos x="51" y="19"/>
                  </a:cxn>
                  <a:cxn ang="0">
                    <a:pos x="45" y="11"/>
                  </a:cxn>
                  <a:cxn ang="0">
                    <a:pos x="45" y="11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7" y="2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7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6" y="58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51" y="42"/>
                    </a:lnTo>
                    <a:lnTo>
                      <a:pt x="54" y="31"/>
                    </a:lnTo>
                    <a:lnTo>
                      <a:pt x="51" y="19"/>
                    </a:lnTo>
                    <a:lnTo>
                      <a:pt x="45" y="11"/>
                    </a:lnTo>
                    <a:lnTo>
                      <a:pt x="45" y="11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0" name="Freeform 25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1" name="Freeform 26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2" name="Freeform 27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3" name="Freeform 28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4" name="Freeform 29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5" name="Freeform 30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6" name="Freeform 31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7" name="Freeform 32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8" name="Freeform 33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9" name="Freeform 34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0" name="Freeform 35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1" name="Freeform 36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2" name="Freeform 37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3" name="Freeform 38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4" name="Freeform 39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5" name="Freeform 40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6" name="Freeform 41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7" name="Freeform 42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8" name="Freeform 43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9" name="Freeform 44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0" name="Freeform 45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1" name="Freeform 46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2" name="Freeform 47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3" name="Freeform 48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4" name="Freeform 49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5" name="Freeform 50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6" name="Freeform 51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7" name="Freeform 52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8" name="Freeform 53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9" name="Freeform 54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0" name="Freeform 55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1" name="Freeform 56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2" name="Freeform 57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3" name="Freeform 58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4" name="Freeform 59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5" name="Freeform 60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6" name="Freeform 61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7" name="Freeform 62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8" name="Freeform 63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9" name="Freeform 64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0" name="Freeform 65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1" name="Freeform 66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2" name="Freeform 67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3" name="Freeform 68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4" name="Freeform 69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5" name="Freeform 70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6" name="Freeform 71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7" name="Freeform 72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8" name="Freeform 73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9" name="Freeform 74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0" name="Freeform 75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1" name="Freeform 76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2" name="Freeform 77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3" name="Freeform 78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4" name="Freeform 79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5" name="Freeform 80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6" name="Freeform 81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7" name="Freeform 82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8" name="Freeform 83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9" name="Freeform 84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0" name="Freeform 85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1" name="Freeform 86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2" name="Freeform 87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3" name="Freeform 88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4" name="Freeform 89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5" name="Freeform 90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6" name="Freeform 91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7" name="Freeform 92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8" name="Freeform 93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9" name="Freeform 94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0" name="Freeform 95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1" name="Freeform 96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2" name="Freeform 97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3" name="Freeform 98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4" name="Freeform 99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5" name="Freeform 100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6" name="Freeform 101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7" name="Freeform 102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8" name="Freeform 103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9" name="Freeform 104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0" name="Freeform 105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1" name="Freeform 106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2" name="Freeform 107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3" name="Freeform 108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4" name="Freeform 109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5" name="Freeform 110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6" name="Freeform 111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7" name="Freeform 112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8" name="Freeform 113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9" name="Freeform 114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0" name="Freeform 115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1" name="Freeform 116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2" name="Freeform 117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3" name="Freeform 118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4" name="Freeform 119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5" name="Freeform 120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6" name="Freeform 121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7" name="Freeform 122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8" name="Freeform 123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9" name="Freeform 124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0" name="Freeform 125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1" name="Freeform 126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2" name="Freeform 127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3" name="Freeform 128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4" name="Freeform 129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5" name="Freeform 130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6" name="Freeform 131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7" name="Freeform 132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8" name="Freeform 133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9" name="Freeform 134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0" name="Freeform 135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1" name="Freeform 136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2" name="Freeform 137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3" name="Freeform 138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4" name="Freeform 139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5" name="Freeform 140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6" name="Freeform 141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7" name="Freeform 142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8" name="Freeform 143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9" name="Freeform 144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0" name="Freeform 145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1" name="Freeform 146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2" name="Freeform 147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3" name="Freeform 148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4" name="Freeform 149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5" name="Freeform 150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6" name="Freeform 151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7" name="Freeform 152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8" name="Freeform 153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9" name="Freeform 154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0" name="Freeform 155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1" name="Freeform 156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2" name="Freeform 157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3" name="Freeform 158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4" name="Freeform 159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5" name="Freeform 160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6" name="Freeform 161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7" name="Freeform 162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8" name="Freeform 163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9" name="Freeform 164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0" name="Freeform 165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1" name="Freeform 166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2" name="Freeform 167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3" name="Freeform 168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4" name="Freeform 169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5" name="Freeform 170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6" name="Freeform 171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7" name="Freeform 172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8" name="Freeform 173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9" name="Freeform 174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0" name="Freeform 175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1" name="Freeform 176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2" name="Freeform 177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3" name="Freeform 178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4" name="Freeform 179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5" name="Freeform 180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6" name="Freeform 181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7" name="Freeform 182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8" name="Freeform 183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9" name="Freeform 184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0" name="Freeform 185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1" name="Freeform 186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2" name="Freeform 187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3" name="Freeform 188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4" name="Freeform 189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5" name="Freeform 190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6" name="Freeform 191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7" name="Freeform 192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8" name="Freeform 193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9" name="Freeform 194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0" name="Freeform 195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1" name="Freeform 196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2" name="Freeform 197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3" name="Freeform 198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4" name="Freeform 199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5" name="Freeform 200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6" name="Freeform 201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7" name="Freeform 202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8" name="Freeform 203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9" name="Freeform 204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79" name="Group 406"/>
            <p:cNvGrpSpPr>
              <a:grpSpLocks/>
            </p:cNvGrpSpPr>
            <p:nvPr userDrawn="1"/>
          </p:nvGrpSpPr>
          <p:grpSpPr bwMode="auto">
            <a:xfrm>
              <a:off x="4327526" y="4437063"/>
              <a:ext cx="1619250" cy="1857375"/>
              <a:chOff x="2726" y="2795"/>
              <a:chExt cx="1020" cy="1170"/>
            </a:xfrm>
            <a:grpFill/>
          </p:grpSpPr>
          <p:sp>
            <p:nvSpPr>
              <p:cNvPr id="1295" name="Freeform 206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6" name="Freeform 207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7" name="Freeform 208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8" name="Freeform 209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9" name="Freeform 210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0" name="Freeform 211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1" name="Freeform 212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2" name="Freeform 213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3" name="Freeform 214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4" name="Freeform 215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5" name="Freeform 216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6" name="Freeform 217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7" name="Freeform 218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8" name="Freeform 219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9" name="Freeform 220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0" name="Freeform 221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1" name="Freeform 222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2" name="Freeform 223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3" name="Freeform 224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4" name="Freeform 225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5" name="Freeform 226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6" name="Freeform 227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7" name="Freeform 228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8" name="Freeform 229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9" name="Freeform 230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0" name="Freeform 231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1" name="Freeform 232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2" name="Freeform 233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3" name="Freeform 234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4" name="Freeform 235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5" name="Freeform 236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6" name="Freeform 237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7" name="Freeform 238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8" name="Freeform 239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9" name="Freeform 240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0" name="Freeform 241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1" name="Freeform 242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2" name="Freeform 243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3" name="Freeform 244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4" name="Freeform 245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5" name="Freeform 246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6" name="Freeform 247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7" name="Freeform 248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8" name="Freeform 249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9" name="Freeform 250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0" name="Freeform 251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1" name="Freeform 252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2" name="Freeform 253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3" name="Freeform 254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4" name="Freeform 255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5" name="Freeform 256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6" name="Freeform 257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7" name="Freeform 258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8" name="Freeform 259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9" name="Freeform 260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0" name="Freeform 261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1" name="Freeform 262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2" name="Freeform 263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3" name="Freeform 264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4" name="Freeform 265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5" name="Freeform 266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6" name="Freeform 267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7" name="Freeform 268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8" name="Freeform 269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9" name="Freeform 270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0" name="Freeform 271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1" name="Freeform 272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2" name="Freeform 273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3" name="Freeform 274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4" name="Freeform 275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5" name="Freeform 276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6" name="Freeform 277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7" name="Freeform 278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8" name="Freeform 279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9" name="Freeform 280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0" name="Freeform 281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1" name="Freeform 282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2" name="Freeform 283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3" name="Freeform 284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4" name="Freeform 285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5" name="Freeform 286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6" name="Freeform 287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7" name="Freeform 288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8" name="Freeform 289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9" name="Freeform 290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0" name="Freeform 291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1" name="Freeform 292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2" name="Freeform 293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3" name="Freeform 294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4" name="Freeform 295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5" name="Freeform 296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6" name="Freeform 297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7" name="Freeform 298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8" name="Freeform 299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9" name="Freeform 300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0" name="Freeform 301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1" name="Freeform 302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2" name="Freeform 303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3" name="Freeform 304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4" name="Freeform 305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5" name="Freeform 306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6" name="Freeform 307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7" name="Freeform 308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8" name="Freeform 309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9" name="Freeform 310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0" name="Freeform 311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1" name="Freeform 312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2" name="Freeform 313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3" name="Freeform 314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4" name="Freeform 315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5" name="Freeform 316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6" name="Freeform 317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7" name="Freeform 318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8" name="Freeform 319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9" name="Freeform 320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0" name="Freeform 321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1" name="Freeform 322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2" name="Freeform 323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3" name="Freeform 324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4" name="Freeform 325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5" name="Freeform 326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6" name="Freeform 327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7" name="Freeform 328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8" name="Freeform 329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9" name="Freeform 330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0" name="Freeform 331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1" name="Freeform 332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2" name="Freeform 333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3" name="Freeform 334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4" name="Freeform 335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5" name="Freeform 336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6" name="Freeform 337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7" name="Freeform 338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8" name="Freeform 339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9" name="Freeform 340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0" name="Freeform 341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1" name="Freeform 342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2" name="Freeform 343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3" name="Freeform 344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4" name="Freeform 345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5" name="Freeform 346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6" name="Freeform 347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7" name="Freeform 348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8" name="Freeform 349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9" name="Freeform 350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0" name="Freeform 351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1" name="Freeform 352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2" name="Freeform 353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3" name="Freeform 354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4" name="Freeform 355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5" name="Freeform 356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6" name="Freeform 357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7" name="Freeform 358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8" name="Freeform 359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9" name="Freeform 360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0" name="Freeform 361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1" name="Freeform 362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2" name="Freeform 363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3" name="Freeform 364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4" name="Freeform 365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5" name="Freeform 366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6" name="Freeform 367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7" name="Freeform 368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8" name="Freeform 369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9" name="Freeform 370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0" name="Freeform 371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1" name="Freeform 372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2" name="Freeform 373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3" name="Freeform 374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4" name="Freeform 375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5" name="Freeform 376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6" name="Freeform 377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7" name="Freeform 378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8" name="Freeform 379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9" name="Freeform 380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0" name="Freeform 381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1" name="Freeform 382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2" name="Freeform 383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3" name="Freeform 384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4" name="Freeform 385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5" name="Freeform 386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6" name="Freeform 387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7" name="Freeform 388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8" name="Freeform 389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9" name="Freeform 390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0" name="Freeform 391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1" name="Freeform 392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2" name="Freeform 393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3" name="Freeform 394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4" name="Freeform 395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5" name="Freeform 396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6" name="Freeform 397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7" name="Freeform 398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8" name="Freeform 399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9" name="Freeform 400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0" name="Freeform 401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1" name="Freeform 402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2" name="Freeform 403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3" name="Freeform 404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4" name="Freeform 405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80" name="Freeform 407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408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7" name="Freeform 409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8" name="Freeform 410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9" name="Freeform 411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0" name="Freeform 412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1" name="Freeform 413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2" name="Freeform 414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3" name="Freeform 415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4" name="Freeform 416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5" name="Freeform 417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6" name="Freeform 418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7" name="Freeform 419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8" name="Freeform 420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9" name="Freeform 421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0" name="Freeform 422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1" name="Freeform 423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2" name="Freeform 424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3" name="Freeform 425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4" name="Freeform 426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5" name="Freeform 427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6" name="Freeform 428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7" name="Freeform 429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8" name="Freeform 430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9" name="Freeform 431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0" name="Freeform 432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1" name="Freeform 433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2" name="Freeform 434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3" name="Freeform 435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4" name="Freeform 436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5" name="Freeform 437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6" name="Freeform 438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7" name="Freeform 439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8" name="Freeform 440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9" name="Freeform 441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0" name="Freeform 442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1" name="Freeform 443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2" name="Freeform 444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3" name="Freeform 445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4" name="Freeform 446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5" name="Freeform 447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6" name="Freeform 448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7" name="Freeform 449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8" name="Freeform 450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9" name="Freeform 451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0" name="Freeform 452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1" name="Freeform 453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2" name="Freeform 454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3" name="Freeform 455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4" name="Freeform 456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5" name="Freeform 457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6" name="Freeform 458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7" name="Freeform 459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8" name="Freeform 460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9" name="Freeform 461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0" name="Freeform 462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1" name="Freeform 463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2" name="Freeform 464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3" name="Freeform 465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4" name="Freeform 466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5" name="Freeform 467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6" name="Freeform 468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7" name="Freeform 469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8" name="Freeform 470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9" name="Freeform 471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0" name="Freeform 472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1" name="Freeform 473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2" name="Freeform 474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3" name="Freeform 475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4" name="Freeform 476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5" name="Freeform 477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6" name="Freeform 478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7" name="Freeform 479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8" name="Freeform 480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9" name="Freeform 481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0" name="Freeform 482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1" name="Freeform 483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2" name="Freeform 484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3" name="Freeform 485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4" name="Freeform 486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5" name="Freeform 487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6" name="Freeform 488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7" name="Freeform 489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8" name="Freeform 490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9" name="Freeform 491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0" name="Freeform 492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1" name="Freeform 493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2" name="Freeform 494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3" name="Freeform 495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4" name="Freeform 496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5" name="Freeform 497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6" name="Freeform 498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7" name="Freeform 499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8" name="Freeform 500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9" name="Freeform 501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0" name="Freeform 502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1" name="Freeform 503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2" name="Freeform 504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3" name="Freeform 505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4" name="Freeform 506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5" name="Freeform 507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6" name="Freeform 508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7" name="Freeform 509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8" name="Freeform 510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9" name="Freeform 511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0" name="Freeform 512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1" name="Freeform 513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2" name="Freeform 514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3" name="Freeform 515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4" name="Freeform 516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5" name="Freeform 517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6" name="Freeform 518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7" name="Freeform 519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8" name="Freeform 520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9" name="Freeform 521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0" name="Freeform 522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1" name="Freeform 523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2" name="Freeform 524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3" name="Freeform 525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4" name="Freeform 526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5" name="Freeform 527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6" name="Freeform 528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7" name="Freeform 529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8" name="Freeform 530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9" name="Freeform 531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0" name="Freeform 532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1" name="Freeform 533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2" name="Freeform 534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3" name="Freeform 535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4" name="Freeform 536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5" name="Freeform 537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6" name="Freeform 538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7" name="Freeform 539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8" name="Freeform 540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9" name="Freeform 541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0" name="Freeform 542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1" name="Freeform 543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2" name="Freeform 544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3" name="Freeform 545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4" name="Freeform 546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5" name="Freeform 547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6" name="Freeform 548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7" name="Freeform 549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8" name="Freeform 550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9" name="Freeform 551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0" name="Freeform 552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1" name="Freeform 553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2" name="Freeform 554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3" name="Freeform 555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4" name="Freeform 556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5" name="Freeform 557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6" name="Freeform 558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7" name="Freeform 559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8" name="Freeform 560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9" name="Freeform 561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0" name="Freeform 562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1" name="Freeform 563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2" name="Freeform 564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3" name="Freeform 565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4" name="Freeform 566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7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4489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988840"/>
            <a:ext cx="4500562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 baseline="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060952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988840"/>
            <a:ext cx="4500563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57918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720" y="0"/>
            <a:ext cx="9907720" cy="332898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705190"/>
            <a:ext cx="9906000" cy="1143240"/>
          </a:xfrm>
          <a:prstGeom prst="rect">
            <a:avLst/>
          </a:prstGeom>
        </p:spPr>
        <p:txBody>
          <a:bodyPr lIns="330588" tIns="33059" rIns="33059" bIns="33059"/>
          <a:lstStyle>
            <a:lvl1pPr algn="l">
              <a:defRPr sz="3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4596" y="1847850"/>
            <a:ext cx="7862888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 flipV="1">
            <a:off x="-1176" y="3384922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" y="4699008"/>
            <a:ext cx="9906000" cy="899319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935570" y="5598327"/>
            <a:ext cx="8186209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4"/>
            <a:ext cx="9217025" cy="4645025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" name="Groupe 149"/>
          <p:cNvGrpSpPr/>
          <p:nvPr userDrawn="1"/>
        </p:nvGrpSpPr>
        <p:grpSpPr>
          <a:xfrm rot="3755081">
            <a:off x="6027608" y="1590882"/>
            <a:ext cx="3859573" cy="3721283"/>
            <a:chOff x="4111623" y="2568574"/>
            <a:chExt cx="3898898" cy="3759198"/>
          </a:xfrm>
          <a:solidFill>
            <a:schemeClr val="bg1">
              <a:lumMod val="85000"/>
            </a:schemeClr>
          </a:solidFill>
        </p:grpSpPr>
        <p:grpSp>
          <p:nvGrpSpPr>
            <p:cNvPr id="6" name="Groupe 577"/>
            <p:cNvGrpSpPr/>
            <p:nvPr userDrawn="1"/>
          </p:nvGrpSpPr>
          <p:grpSpPr>
            <a:xfrm>
              <a:off x="4111623" y="2568574"/>
              <a:ext cx="3898898" cy="3759198"/>
              <a:chOff x="4111625" y="2568575"/>
              <a:chExt cx="3898900" cy="3759200"/>
            </a:xfrm>
            <a:grpFill/>
          </p:grpSpPr>
          <p:sp>
            <p:nvSpPr>
              <p:cNvPr id="369" name="Freeform 5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0" name="Freeform 6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1" name="Freeform 7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2" name="Freeform 8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3" name="Freeform 9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4" name="Freeform 10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5" name="Freeform 11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6" name="Freeform 12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7" name="Freeform 13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8" name="Freeform 14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9" name="Freeform 15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0" name="Freeform 16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1" name="Freeform 17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2" name="Freeform 18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3" name="Freeform 19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4" name="Freeform 20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5" name="Freeform 21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6" name="Freeform 22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7" name="Freeform 23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8" name="Freeform 24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9" name="Freeform 25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0" name="Freeform 26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1" name="Freeform 27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2" name="Freeform 28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3" name="Freeform 29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4" name="Freeform 30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5" name="Freeform 31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6" name="Freeform 32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7" name="Freeform 33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8" name="Freeform 34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9" name="Freeform 35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0" name="Freeform 36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1" name="Freeform 37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2" name="Freeform 38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3" name="Freeform 39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4" name="Freeform 40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5" name="Freeform 41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6" name="Freeform 42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7" name="Freeform 43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8" name="Freeform 44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9" name="Freeform 45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0" name="Freeform 46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1" name="Freeform 47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2" name="Freeform 48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3" name="Freeform 49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4" name="Freeform 50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5" name="Freeform 51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6" name="Freeform 52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7" name="Freeform 53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8" name="Freeform 54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9" name="Freeform 55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0" name="Freeform 56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1" name="Freeform 57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2" name="Freeform 58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3" name="Freeform 59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4" name="Freeform 60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5" name="Freeform 61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6" name="Freeform 62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7" name="Freeform 63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8" name="Freeform 64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9" name="Freeform 65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0" name="Freeform 66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1" name="Freeform 67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2" name="Freeform 68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3" name="Freeform 69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4" name="Freeform 70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5" name="Freeform 71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6" name="Freeform 72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7" name="Freeform 73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8" name="Freeform 74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9" name="Freeform 75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0" name="Freeform 76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1" name="Freeform 77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2" name="Freeform 78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3" name="Freeform 79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4" name="Freeform 80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5" name="Freeform 81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6" name="Freeform 82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7" name="Freeform 83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8" name="Freeform 84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9" name="Freeform 85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0" name="Freeform 86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1" name="Freeform 87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2" name="Freeform 88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3" name="Freeform 89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4" name="Freeform 90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5" name="Freeform 91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6" name="Freeform 92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7" name="Freeform 93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8" name="Freeform 94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9" name="Freeform 95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0" name="Freeform 96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1" name="Freeform 97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2" name="Freeform 98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3" name="Freeform 99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4" name="Freeform 100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5" name="Freeform 101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6" name="Freeform 102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7" name="Freeform 103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8" name="Freeform 104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9" name="Freeform 105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0" name="Freeform 106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1" name="Freeform 107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2" name="Freeform 108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3" name="Freeform 109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4" name="Freeform 110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5" name="Freeform 111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6" name="Freeform 112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7" name="Freeform 113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8" name="Freeform 114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9" name="Freeform 115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0" name="Freeform 116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1" name="Freeform 117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2" name="Freeform 118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3" name="Freeform 119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4" name="Freeform 120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5" name="Freeform 121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6" name="Freeform 122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7" name="Freeform 123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8" name="Freeform 124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9" name="Freeform 125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0" name="Freeform 126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1" name="Freeform 127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2" name="Freeform 128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3" name="Freeform 129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4" name="Freeform 130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5" name="Freeform 131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6" name="Freeform 132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7" name="Freeform 133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8" name="Freeform 134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9" name="Freeform 135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0" name="Freeform 136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1" name="Freeform 137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2" name="Freeform 138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3" name="Freeform 139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4" name="Freeform 140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5" name="Freeform 141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6" name="Freeform 142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7" name="Freeform 143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8" name="Freeform 144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9" name="Freeform 145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0" name="Freeform 146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1" name="Freeform 147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2" name="Freeform 148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3" name="Freeform 149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4" name="Freeform 150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5" name="Freeform 151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6" name="Freeform 152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7" name="Freeform 153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8" name="Freeform 154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9" name="Freeform 155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0" name="Freeform 156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1" name="Freeform 157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2" name="Freeform 158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3" name="Freeform 159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4" name="Freeform 160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5" name="Freeform 161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6" name="Freeform 162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7" name="Freeform 163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8" name="Freeform 164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9" name="Freeform 165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0" name="Freeform 166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1" name="Freeform 167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2" name="Freeform 168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3" name="Freeform 169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4" name="Freeform 170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5" name="Freeform 171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6" name="Freeform 172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7" name="Freeform 173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8" name="Freeform 174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9" name="Freeform 175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0" name="Freeform 176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1" name="Freeform 177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2" name="Freeform 178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3" name="Freeform 179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4" name="Freeform 180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5" name="Freeform 181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6" name="Freeform 182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7" name="Freeform 183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8" name="Freeform 184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9" name="Freeform 185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0" name="Freeform 186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1" name="Freeform 187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2" name="Freeform 188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3" name="Freeform 189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4" name="Freeform 190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5" name="Freeform 191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6" name="Freeform 192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7" name="Freeform 193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8" name="Freeform 194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9" name="Freeform 195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0" name="Freeform 196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1" name="Freeform 197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2" name="Freeform 198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3" name="Freeform 199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4" name="Freeform 200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5" name="Freeform 201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6" name="Freeform 202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7" name="Freeform 203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8" name="Freeform 204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e 578"/>
            <p:cNvGrpSpPr/>
            <p:nvPr userDrawn="1"/>
          </p:nvGrpSpPr>
          <p:grpSpPr>
            <a:xfrm>
              <a:off x="4789478" y="3781423"/>
              <a:ext cx="1754193" cy="1863724"/>
              <a:chOff x="4789481" y="3781425"/>
              <a:chExt cx="1754194" cy="1863725"/>
            </a:xfrm>
            <a:grpFill/>
          </p:grpSpPr>
          <p:sp>
            <p:nvSpPr>
              <p:cNvPr id="169" name="Freeform 206"/>
              <p:cNvSpPr>
                <a:spLocks/>
              </p:cNvSpPr>
              <p:nvPr userDrawn="1"/>
            </p:nvSpPr>
            <p:spPr bwMode="auto">
              <a:xfrm>
                <a:off x="4930775" y="4819650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207"/>
              <p:cNvSpPr>
                <a:spLocks/>
              </p:cNvSpPr>
              <p:nvPr userDrawn="1"/>
            </p:nvSpPr>
            <p:spPr bwMode="auto">
              <a:xfrm>
                <a:off x="4789481" y="5187471"/>
                <a:ext cx="82550" cy="8572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208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209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210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211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212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213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214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215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216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217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218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219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220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221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222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223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224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225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26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227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228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229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230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231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232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233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234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235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236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237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238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239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240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241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242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243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244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245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246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247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248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249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250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251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252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253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254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255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256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257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258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259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260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261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262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6" name="Freeform 263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7" name="Freeform 264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Freeform 265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9" name="Freeform 266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267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268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269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270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271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272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273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274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275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276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277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278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279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280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281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282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283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284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285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286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287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288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289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290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291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292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293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294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295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296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297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298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299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300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301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302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303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304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305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306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307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308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309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310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311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5" name="Freeform 312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6" name="Freeform 313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7" name="Freeform 314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8" name="Freeform 315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9" name="Freeform 316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0" name="Freeform 317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1" name="Freeform 318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2" name="Freeform 319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3" name="Freeform 320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4" name="Freeform 321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5" name="Freeform 322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6" name="Freeform 323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7" name="Freeform 324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8" name="Freeform 325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9" name="Freeform 326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0" name="Freeform 327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1" name="Freeform 328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2" name="Freeform 329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3" name="Freeform 330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4" name="Freeform 331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5" name="Freeform 332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6" name="Freeform 333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7" name="Freeform 334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8" name="Freeform 335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9" name="Freeform 336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0" name="Freeform 337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1" name="Freeform 338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2" name="Freeform 339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3" name="Freeform 340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4" name="Freeform 341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5" name="Freeform 342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6" name="Freeform 343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7" name="Freeform 344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8" name="Freeform 345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9" name="Freeform 346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0" name="Freeform 347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1" name="Freeform 348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2" name="Freeform 349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3" name="Freeform 350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4" name="Freeform 351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5" name="Freeform 352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6" name="Freeform 353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7" name="Freeform 354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8" name="Freeform 355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9" name="Freeform 356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0" name="Freeform 357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1" name="Freeform 358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2" name="Freeform 359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3" name="Freeform 360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4" name="Freeform 361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5" name="Freeform 362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6" name="Freeform 363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7" name="Freeform 364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8" name="Freeform 365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9" name="Freeform 366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0" name="Freeform 367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1" name="Freeform 368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2" name="Freeform 369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3" name="Freeform 370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4" name="Freeform 371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5" name="Freeform 372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6" name="Freeform 373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7" name="Freeform 374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8" name="Freeform 375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9" name="Freeform 376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0" name="Freeform 377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1" name="Freeform 378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2" name="Freeform 379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3" name="Freeform 380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4" name="Freeform 381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5" name="Freeform 382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6" name="Freeform 383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7" name="Freeform 384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8" name="Freeform 385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9" name="Freeform 386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0" name="Freeform 387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1" name="Freeform 388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2" name="Freeform 389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3" name="Freeform 390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4" name="Freeform 391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5" name="Freeform 392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6" name="Freeform 393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7" name="Freeform 394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8" name="Freeform 395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9" name="Freeform 396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0" name="Freeform 397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1" name="Freeform 398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2" name="Freeform 399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3" name="Freeform 400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4" name="Freeform 401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5" name="Freeform 402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6" name="Freeform 403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7" name="Freeform 404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8" name="Freeform 405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8" name="Groupe 579"/>
            <p:cNvGrpSpPr/>
            <p:nvPr userDrawn="1"/>
          </p:nvGrpSpPr>
          <p:grpSpPr>
            <a:xfrm>
              <a:off x="5626100" y="4295776"/>
              <a:ext cx="676275" cy="825499"/>
              <a:chOff x="5626100" y="4295775"/>
              <a:chExt cx="676275" cy="825500"/>
            </a:xfrm>
            <a:grpFill/>
          </p:grpSpPr>
          <p:sp>
            <p:nvSpPr>
              <p:cNvPr id="9" name="Freeform 407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408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409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410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411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412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413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414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415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416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417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418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419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420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421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422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423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424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425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426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427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428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429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430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431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432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433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434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435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436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437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438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439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440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441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442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443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44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445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446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447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448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449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450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451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452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453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454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455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456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457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458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459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460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461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462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463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464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465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466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467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468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469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470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471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472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473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474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475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476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477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478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479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480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481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482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483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484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485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486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487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488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489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490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491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492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493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494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495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496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497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498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499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500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501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502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503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504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505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506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507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508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509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510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511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512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513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514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515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516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517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518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519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520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521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522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523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524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525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526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527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528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529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530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531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532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533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534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535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536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537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" name="Freeform 538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" name="Freeform 539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Freeform 540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541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" name="Freeform 542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543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544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545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546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547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548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549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550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551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552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553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554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555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556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557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558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559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560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561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562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563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564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565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566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600202"/>
            <a:ext cx="9217025" cy="4529137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spcAft>
                <a:spcPts val="1200"/>
              </a:spcAft>
              <a:defRPr/>
            </a:lvl1pPr>
            <a:lvl2pPr>
              <a:spcBef>
                <a:spcPts val="600"/>
              </a:spcBef>
              <a:spcAft>
                <a:spcPts val="1200"/>
              </a:spcAft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69" name="Group 568"/>
          <p:cNvGrpSpPr/>
          <p:nvPr userDrawn="1"/>
        </p:nvGrpSpPr>
        <p:grpSpPr>
          <a:xfrm>
            <a:off x="6742739" y="4328582"/>
            <a:ext cx="2916541" cy="1828800"/>
            <a:chOff x="6818462" y="4404782"/>
            <a:chExt cx="2916541" cy="1828800"/>
          </a:xfrm>
          <a:solidFill>
            <a:schemeClr val="accent3">
              <a:lumMod val="75000"/>
            </a:schemeClr>
          </a:solidFill>
        </p:grpSpPr>
        <p:sp>
          <p:nvSpPr>
            <p:cNvPr id="570" name="Freeform 7"/>
            <p:cNvSpPr>
              <a:spLocks/>
            </p:cNvSpPr>
            <p:nvPr userDrawn="1"/>
          </p:nvSpPr>
          <p:spPr bwMode="auto">
            <a:xfrm>
              <a:off x="6818462" y="4404782"/>
              <a:ext cx="2916541" cy="1828800"/>
            </a:xfrm>
            <a:custGeom>
              <a:avLst/>
              <a:gdLst>
                <a:gd name="connsiteX0" fmla="*/ 10000 w 10000"/>
                <a:gd name="connsiteY0" fmla="*/ 8910 h 10000"/>
                <a:gd name="connsiteX1" fmla="*/ 9316 w 10000"/>
                <a:gd name="connsiteY1" fmla="*/ 10000 h 10000"/>
                <a:gd name="connsiteX2" fmla="*/ 684 w 10000"/>
                <a:gd name="connsiteY2" fmla="*/ 10000 h 10000"/>
                <a:gd name="connsiteX3" fmla="*/ 0 w 10000"/>
                <a:gd name="connsiteY3" fmla="*/ 8910 h 10000"/>
                <a:gd name="connsiteX4" fmla="*/ 9094 w 10000"/>
                <a:gd name="connsiteY4" fmla="*/ 8910 h 10000"/>
                <a:gd name="connsiteX5" fmla="*/ 9094 w 10000"/>
                <a:gd name="connsiteY5" fmla="*/ 0 h 10000"/>
                <a:gd name="connsiteX6" fmla="*/ 906 w 10000"/>
                <a:gd name="connsiteY6" fmla="*/ 0 h 10000"/>
                <a:gd name="connsiteX7" fmla="*/ 906 w 10000"/>
                <a:gd name="connsiteY7" fmla="*/ 824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10000" y="8910"/>
                  </a:moveTo>
                  <a:cubicBezTo>
                    <a:pt x="10000" y="9502"/>
                    <a:pt x="9688" y="10000"/>
                    <a:pt x="9316" y="10000"/>
                  </a:cubicBezTo>
                  <a:lnTo>
                    <a:pt x="684" y="10000"/>
                  </a:lnTo>
                  <a:cubicBezTo>
                    <a:pt x="312" y="10000"/>
                    <a:pt x="0" y="9502"/>
                    <a:pt x="0" y="8910"/>
                  </a:cubicBezTo>
                  <a:lnTo>
                    <a:pt x="9094" y="8910"/>
                  </a:lnTo>
                  <a:lnTo>
                    <a:pt x="9094" y="0"/>
                  </a:lnTo>
                  <a:lnTo>
                    <a:pt x="906" y="0"/>
                  </a:lnTo>
                  <a:lnTo>
                    <a:pt x="906" y="8248"/>
                  </a:lnTo>
                </a:path>
              </a:pathLst>
            </a:custGeom>
            <a:noFill/>
            <a:ln w="285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1" name="Freeform 8"/>
            <p:cNvSpPr>
              <a:spLocks noEditPoints="1"/>
            </p:cNvSpPr>
            <p:nvPr userDrawn="1"/>
          </p:nvSpPr>
          <p:spPr bwMode="auto">
            <a:xfrm>
              <a:off x="7216506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2" name="Freeform 9"/>
            <p:cNvSpPr>
              <a:spLocks/>
            </p:cNvSpPr>
            <p:nvPr userDrawn="1"/>
          </p:nvSpPr>
          <p:spPr bwMode="auto">
            <a:xfrm>
              <a:off x="7403605" y="4916553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3" name="Freeform 10"/>
            <p:cNvSpPr>
              <a:spLocks noEditPoints="1"/>
            </p:cNvSpPr>
            <p:nvPr userDrawn="1"/>
          </p:nvSpPr>
          <p:spPr bwMode="auto">
            <a:xfrm>
              <a:off x="7550349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4" name="Freeform 11"/>
            <p:cNvSpPr>
              <a:spLocks noEditPoints="1"/>
            </p:cNvSpPr>
            <p:nvPr userDrawn="1"/>
          </p:nvSpPr>
          <p:spPr bwMode="auto">
            <a:xfrm>
              <a:off x="775395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5" name="Freeform 12"/>
            <p:cNvSpPr>
              <a:spLocks/>
            </p:cNvSpPr>
            <p:nvPr userDrawn="1"/>
          </p:nvSpPr>
          <p:spPr bwMode="auto">
            <a:xfrm>
              <a:off x="7941055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6" name="Freeform 13"/>
            <p:cNvSpPr>
              <a:spLocks noEditPoints="1"/>
            </p:cNvSpPr>
            <p:nvPr userDrawn="1"/>
          </p:nvSpPr>
          <p:spPr bwMode="auto">
            <a:xfrm>
              <a:off x="8087799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7" name="Freeform 14"/>
            <p:cNvSpPr>
              <a:spLocks/>
            </p:cNvSpPr>
            <p:nvPr userDrawn="1"/>
          </p:nvSpPr>
          <p:spPr bwMode="auto">
            <a:xfrm>
              <a:off x="8274898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8" name="Freeform 15"/>
            <p:cNvSpPr>
              <a:spLocks/>
            </p:cNvSpPr>
            <p:nvPr userDrawn="1"/>
          </p:nvSpPr>
          <p:spPr bwMode="auto">
            <a:xfrm>
              <a:off x="8408802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9" name="Freeform 16"/>
            <p:cNvSpPr>
              <a:spLocks noEditPoints="1"/>
            </p:cNvSpPr>
            <p:nvPr userDrawn="1"/>
          </p:nvSpPr>
          <p:spPr bwMode="auto">
            <a:xfrm>
              <a:off x="8555547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0" name="Freeform 17"/>
            <p:cNvSpPr>
              <a:spLocks/>
            </p:cNvSpPr>
            <p:nvPr userDrawn="1"/>
          </p:nvSpPr>
          <p:spPr bwMode="auto">
            <a:xfrm>
              <a:off x="8742646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18"/>
            <p:cNvSpPr>
              <a:spLocks noEditPoints="1"/>
            </p:cNvSpPr>
            <p:nvPr userDrawn="1"/>
          </p:nvSpPr>
          <p:spPr bwMode="auto">
            <a:xfrm>
              <a:off x="8889390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2" name="Freeform 19"/>
            <p:cNvSpPr>
              <a:spLocks noEditPoints="1"/>
            </p:cNvSpPr>
            <p:nvPr userDrawn="1"/>
          </p:nvSpPr>
          <p:spPr bwMode="auto">
            <a:xfrm>
              <a:off x="909299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3" name="Freeform 20"/>
            <p:cNvSpPr>
              <a:spLocks noEditPoints="1"/>
            </p:cNvSpPr>
            <p:nvPr userDrawn="1"/>
          </p:nvSpPr>
          <p:spPr bwMode="auto">
            <a:xfrm>
              <a:off x="7216506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4" name="Freeform 21"/>
            <p:cNvSpPr>
              <a:spLocks/>
            </p:cNvSpPr>
            <p:nvPr userDrawn="1"/>
          </p:nvSpPr>
          <p:spPr bwMode="auto">
            <a:xfrm>
              <a:off x="7403605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5" name="Freeform 22"/>
            <p:cNvSpPr>
              <a:spLocks noEditPoints="1"/>
            </p:cNvSpPr>
            <p:nvPr userDrawn="1"/>
          </p:nvSpPr>
          <p:spPr bwMode="auto">
            <a:xfrm>
              <a:off x="7550349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6" name="Freeform 23"/>
            <p:cNvSpPr>
              <a:spLocks/>
            </p:cNvSpPr>
            <p:nvPr userDrawn="1"/>
          </p:nvSpPr>
          <p:spPr bwMode="auto">
            <a:xfrm>
              <a:off x="7737448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7" name="Freeform 24"/>
            <p:cNvSpPr>
              <a:spLocks/>
            </p:cNvSpPr>
            <p:nvPr userDrawn="1"/>
          </p:nvSpPr>
          <p:spPr bwMode="auto">
            <a:xfrm>
              <a:off x="7871352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8" name="Freeform 25"/>
            <p:cNvSpPr>
              <a:spLocks noEditPoints="1"/>
            </p:cNvSpPr>
            <p:nvPr userDrawn="1"/>
          </p:nvSpPr>
          <p:spPr bwMode="auto">
            <a:xfrm>
              <a:off x="8018096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7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9" name="Freeform 26"/>
            <p:cNvSpPr>
              <a:spLocks/>
            </p:cNvSpPr>
            <p:nvPr userDrawn="1"/>
          </p:nvSpPr>
          <p:spPr bwMode="auto">
            <a:xfrm>
              <a:off x="8205194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0" name="Freeform 27"/>
            <p:cNvSpPr>
              <a:spLocks noEditPoints="1"/>
            </p:cNvSpPr>
            <p:nvPr userDrawn="1"/>
          </p:nvSpPr>
          <p:spPr bwMode="auto">
            <a:xfrm>
              <a:off x="835744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1" name="Freeform 28"/>
            <p:cNvSpPr>
              <a:spLocks noEditPoints="1"/>
            </p:cNvSpPr>
            <p:nvPr userDrawn="1"/>
          </p:nvSpPr>
          <p:spPr bwMode="auto">
            <a:xfrm>
              <a:off x="8555547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2" name="Freeform 29"/>
            <p:cNvSpPr>
              <a:spLocks/>
            </p:cNvSpPr>
            <p:nvPr userDrawn="1"/>
          </p:nvSpPr>
          <p:spPr bwMode="auto">
            <a:xfrm>
              <a:off x="8742646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3" name="Freeform 30"/>
            <p:cNvSpPr>
              <a:spLocks/>
            </p:cNvSpPr>
            <p:nvPr userDrawn="1"/>
          </p:nvSpPr>
          <p:spPr bwMode="auto">
            <a:xfrm>
              <a:off x="8876550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4" name="Freeform 31"/>
            <p:cNvSpPr>
              <a:spLocks/>
            </p:cNvSpPr>
            <p:nvPr userDrawn="1"/>
          </p:nvSpPr>
          <p:spPr bwMode="auto">
            <a:xfrm>
              <a:off x="9006785" y="5310928"/>
              <a:ext cx="111892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9" y="10"/>
                </a:cxn>
                <a:cxn ang="0">
                  <a:pos x="21" y="0"/>
                </a:cxn>
                <a:cxn ang="0">
                  <a:pos x="26" y="5"/>
                </a:cxn>
                <a:cxn ang="0">
                  <a:pos x="26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6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4" y="0"/>
                    <a:pt x="26" y="1"/>
                    <a:pt x="26" y="5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52"/>
                    <a:pt x="24" y="55"/>
                    <a:pt x="20" y="55"/>
                  </a:cubicBezTo>
                  <a:cubicBezTo>
                    <a:pt x="16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Freeform 32"/>
            <p:cNvSpPr>
              <a:spLocks noEditPoints="1"/>
            </p:cNvSpPr>
            <p:nvPr userDrawn="1"/>
          </p:nvSpPr>
          <p:spPr bwMode="auto">
            <a:xfrm>
              <a:off x="915903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96" name="Freeform 595"/>
          <p:cNvSpPr/>
          <p:nvPr userDrawn="1"/>
        </p:nvSpPr>
        <p:spPr bwMode="auto">
          <a:xfrm>
            <a:off x="232612" y="1495426"/>
            <a:ext cx="9440778" cy="4345843"/>
          </a:xfrm>
          <a:custGeom>
            <a:avLst/>
            <a:gdLst>
              <a:gd name="connsiteX0" fmla="*/ 0 w 9440778"/>
              <a:gd name="connsiteY0" fmla="*/ 134877 h 4417851"/>
              <a:gd name="connsiteX1" fmla="*/ 39505 w 9440778"/>
              <a:gd name="connsiteY1" fmla="*/ 39505 h 4417851"/>
              <a:gd name="connsiteX2" fmla="*/ 134878 w 9440778"/>
              <a:gd name="connsiteY2" fmla="*/ 1 h 4417851"/>
              <a:gd name="connsiteX3" fmla="*/ 9305901 w 9440778"/>
              <a:gd name="connsiteY3" fmla="*/ 0 h 4417851"/>
              <a:gd name="connsiteX4" fmla="*/ 9401273 w 9440778"/>
              <a:gd name="connsiteY4" fmla="*/ 39505 h 4417851"/>
              <a:gd name="connsiteX5" fmla="*/ 9440777 w 9440778"/>
              <a:gd name="connsiteY5" fmla="*/ 134878 h 4417851"/>
              <a:gd name="connsiteX6" fmla="*/ 9440778 w 9440778"/>
              <a:gd name="connsiteY6" fmla="*/ 4282974 h 4417851"/>
              <a:gd name="connsiteX7" fmla="*/ 9401273 w 9440778"/>
              <a:gd name="connsiteY7" fmla="*/ 4378346 h 4417851"/>
              <a:gd name="connsiteX8" fmla="*/ 9305901 w 9440778"/>
              <a:gd name="connsiteY8" fmla="*/ 4417851 h 4417851"/>
              <a:gd name="connsiteX9" fmla="*/ 134877 w 9440778"/>
              <a:gd name="connsiteY9" fmla="*/ 4417851 h 4417851"/>
              <a:gd name="connsiteX10" fmla="*/ 39505 w 9440778"/>
              <a:gd name="connsiteY10" fmla="*/ 4378346 h 4417851"/>
              <a:gd name="connsiteX11" fmla="*/ 1 w 9440778"/>
              <a:gd name="connsiteY11" fmla="*/ 4282973 h 4417851"/>
              <a:gd name="connsiteX12" fmla="*/ 0 w 9440778"/>
              <a:gd name="connsiteY12" fmla="*/ 134877 h 4417851"/>
              <a:gd name="connsiteX0" fmla="*/ 9401273 w 9492713"/>
              <a:gd name="connsiteY0" fmla="*/ 4378346 h 4469786"/>
              <a:gd name="connsiteX1" fmla="*/ 9305901 w 9492713"/>
              <a:gd name="connsiteY1" fmla="*/ 4417851 h 4469786"/>
              <a:gd name="connsiteX2" fmla="*/ 134877 w 9492713"/>
              <a:gd name="connsiteY2" fmla="*/ 4417851 h 4469786"/>
              <a:gd name="connsiteX3" fmla="*/ 39505 w 9492713"/>
              <a:gd name="connsiteY3" fmla="*/ 4378346 h 4469786"/>
              <a:gd name="connsiteX4" fmla="*/ 1 w 9492713"/>
              <a:gd name="connsiteY4" fmla="*/ 4282973 h 4469786"/>
              <a:gd name="connsiteX5" fmla="*/ 0 w 9492713"/>
              <a:gd name="connsiteY5" fmla="*/ 134877 h 4469786"/>
              <a:gd name="connsiteX6" fmla="*/ 39505 w 9492713"/>
              <a:gd name="connsiteY6" fmla="*/ 39505 h 4469786"/>
              <a:gd name="connsiteX7" fmla="*/ 134878 w 9492713"/>
              <a:gd name="connsiteY7" fmla="*/ 1 h 4469786"/>
              <a:gd name="connsiteX8" fmla="*/ 9305901 w 9492713"/>
              <a:gd name="connsiteY8" fmla="*/ 0 h 4469786"/>
              <a:gd name="connsiteX9" fmla="*/ 9401273 w 9492713"/>
              <a:gd name="connsiteY9" fmla="*/ 39505 h 4469786"/>
              <a:gd name="connsiteX10" fmla="*/ 9440777 w 9492713"/>
              <a:gd name="connsiteY10" fmla="*/ 134878 h 4469786"/>
              <a:gd name="connsiteX11" fmla="*/ 9440778 w 9492713"/>
              <a:gd name="connsiteY11" fmla="*/ 4282974 h 4469786"/>
              <a:gd name="connsiteX12" fmla="*/ 9492713 w 9492713"/>
              <a:gd name="connsiteY12" fmla="*/ 4469786 h 4469786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4282974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785669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4969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2111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29635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9665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674461 h 4417851"/>
              <a:gd name="connsiteX0" fmla="*/ 9305901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706276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678971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40778" h="4417851">
                <a:moveTo>
                  <a:pt x="6789713" y="4417851"/>
                </a:moveTo>
                <a:lnTo>
                  <a:pt x="134877" y="4417851"/>
                </a:lnTo>
                <a:cubicBezTo>
                  <a:pt x="99105" y="4417851"/>
                  <a:pt x="64799" y="4403641"/>
                  <a:pt x="39505" y="4378346"/>
                </a:cubicBezTo>
                <a:cubicBezTo>
                  <a:pt x="14211" y="4353052"/>
                  <a:pt x="0" y="4318745"/>
                  <a:pt x="1" y="4282973"/>
                </a:cubicBezTo>
                <a:cubicBezTo>
                  <a:pt x="1" y="2900274"/>
                  <a:pt x="0" y="1517576"/>
                  <a:pt x="0" y="134877"/>
                </a:cubicBezTo>
                <a:cubicBezTo>
                  <a:pt x="0" y="99105"/>
                  <a:pt x="14210" y="64799"/>
                  <a:pt x="39505" y="39505"/>
                </a:cubicBezTo>
                <a:cubicBezTo>
                  <a:pt x="64799" y="14211"/>
                  <a:pt x="99106" y="1"/>
                  <a:pt x="134878" y="1"/>
                </a:cubicBezTo>
                <a:lnTo>
                  <a:pt x="9305901" y="0"/>
                </a:lnTo>
                <a:cubicBezTo>
                  <a:pt x="9341673" y="0"/>
                  <a:pt x="9375979" y="14210"/>
                  <a:pt x="9401273" y="39505"/>
                </a:cubicBezTo>
                <a:cubicBezTo>
                  <a:pt x="9426567" y="64799"/>
                  <a:pt x="9440777" y="99106"/>
                  <a:pt x="9440777" y="134878"/>
                </a:cubicBezTo>
                <a:cubicBezTo>
                  <a:pt x="9440777" y="1517577"/>
                  <a:pt x="9440778" y="291762"/>
                  <a:pt x="9440778" y="1674461"/>
                </a:cubicBezTo>
              </a:path>
            </a:pathLst>
          </a:custGeom>
          <a:noFill/>
          <a:ln w="2857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104821909_5_ed.jpg"/>
          <p:cNvPicPr>
            <a:picLocks noChangeAspect="1"/>
          </p:cNvPicPr>
          <p:nvPr userDrawn="1"/>
        </p:nvPicPr>
        <p:blipFill>
          <a:blip r:embed="rId3" cstate="screen"/>
          <a:srcRect l="403" t="351" r="24"/>
          <a:stretch>
            <a:fillRect/>
          </a:stretch>
        </p:blipFill>
        <p:spPr>
          <a:xfrm>
            <a:off x="0" y="2"/>
            <a:ext cx="9906000" cy="62460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2"/>
            <a:ext cx="5404104" cy="4645026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buClr>
                <a:schemeClr val="tx1"/>
              </a:buClr>
              <a:defRPr/>
            </a:lvl1pPr>
            <a:lvl2pPr>
              <a:spcBef>
                <a:spcPts val="600"/>
              </a:spcBef>
              <a:buClr>
                <a:schemeClr val="tx1"/>
              </a:buCl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sp>
        <p:nvSpPr>
          <p:cNvPr id="6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3"/>
            <a:ext cx="9217025" cy="4645024"/>
          </a:xfrm>
        </p:spPr>
        <p:txBody>
          <a:bodyPr tIns="0" bIns="0"/>
          <a:lstStyle>
            <a:lvl1pPr marL="228600" indent="-228600">
              <a:defRPr sz="2000" baseline="0">
                <a:solidFill>
                  <a:schemeClr val="tx1"/>
                </a:solidFill>
              </a:defRPr>
            </a:lvl1pPr>
            <a:lvl2pPr marL="457200" indent="-228600">
              <a:defRPr sz="1800">
                <a:solidFill>
                  <a:schemeClr val="tx1"/>
                </a:solidFill>
              </a:defRPr>
            </a:lvl2pPr>
            <a:lvl3pPr marL="685800" indent="-228600"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</a:defRPr>
            </a:lvl3pPr>
            <a:lvl4pPr marL="914400" indent="-2286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/>
                </a:solidFill>
              </a:defRPr>
            </a:lvl4pPr>
            <a:lvl5pPr marL="1143000" indent="-228600">
              <a:spcBef>
                <a:spcPts val="600"/>
              </a:spcBef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2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7" y="1988840"/>
            <a:ext cx="9217026" cy="41770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636588" rtl="0" eaLnBrk="0" fontAlgn="base" hangingPunct="0">
              <a:spcBef>
                <a:spcPts val="6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344489" y="1484313"/>
            <a:ext cx="9561512" cy="502920"/>
          </a:xfrm>
        </p:spPr>
        <p:txBody>
          <a:bodyPr tIns="0" bIns="0"/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484315"/>
            <a:ext cx="4500562" cy="4645025"/>
          </a:xfrm>
        </p:spPr>
        <p:txBody>
          <a:bodyPr lIns="0" tIns="0" rIns="0" bIns="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 marL="1033463" indent="-22860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484315"/>
            <a:ext cx="4500563" cy="4645025"/>
          </a:xfrm>
        </p:spPr>
        <p:txBody>
          <a:bodyPr lIns="0" tIns="0" rIns="0" bIns="0"/>
          <a:lstStyle>
            <a:lvl1pPr marL="228600" indent="-228600"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 marL="1033463" indent="-22225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6246000"/>
            <a:ext cx="9906000" cy="61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44489" y="0"/>
            <a:ext cx="9561512" cy="10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344489" y="1484312"/>
            <a:ext cx="9217025" cy="464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9489504" y="6669360"/>
            <a:ext cx="416496" cy="195814"/>
          </a:xfrm>
          <a:prstGeom prst="rect">
            <a:avLst/>
          </a:prstGeom>
          <a:noFill/>
        </p:spPr>
        <p:txBody>
          <a:bodyPr wrap="square" lIns="36000" tIns="36000" rIns="72000" bIns="36000" rtlCol="0" anchor="b" anchorCtr="0">
            <a:spAutoFit/>
          </a:bodyPr>
          <a:lstStyle/>
          <a:p>
            <a:pPr algn="r"/>
            <a:fld id="{0017CC65-29F3-4DE0-A808-45FF0F33D3D1}" type="slidenum">
              <a:rPr lang="en-US" sz="800" smtClean="0">
                <a:solidFill>
                  <a:schemeClr val="bg1"/>
                </a:solidFill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0" y="6246000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3" r:id="rId2"/>
    <p:sldLayoutId id="2147483724" r:id="rId3"/>
    <p:sldLayoutId id="2147483663" r:id="rId4"/>
    <p:sldLayoutId id="2147483716" r:id="rId5"/>
    <p:sldLayoutId id="2147483721" r:id="rId6"/>
    <p:sldLayoutId id="2147483664" r:id="rId7"/>
    <p:sldLayoutId id="2147483665" r:id="rId8"/>
    <p:sldLayoutId id="2147483667" r:id="rId9"/>
    <p:sldLayoutId id="2147483670" r:id="rId10"/>
    <p:sldLayoutId id="2147483681" r:id="rId11"/>
    <p:sldLayoutId id="2147483722" r:id="rId12"/>
  </p:sldLayoutIdLst>
  <p:hf hdr="0" ft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200" b="0" kern="1200" noProof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fr-FR" sz="18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lang="fr-FR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225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Courier New" pitchFamily="49" charset="0"/>
        <a:buChar char="o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906000" cy="3176972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1"/>
              </a:gs>
              <a:gs pos="100000">
                <a:schemeClr val="tx1"/>
              </a:gs>
            </a:gsLst>
            <a:lin ang="18900000" scaled="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2631" y="2628"/>
            <a:ext cx="9905999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368583 w 10564100"/>
              <a:gd name="connsiteY6" fmla="*/ 245359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2846"/>
              <a:gd name="connsiteY0" fmla="*/ 0 h 5657661"/>
              <a:gd name="connsiteX1" fmla="*/ 10562846 w 10562846"/>
              <a:gd name="connsiteY1" fmla="*/ 5657661 h 5657661"/>
              <a:gd name="connsiteX2" fmla="*/ 9024256 w 10562846"/>
              <a:gd name="connsiteY2" fmla="*/ 4808920 h 5657661"/>
              <a:gd name="connsiteX3" fmla="*/ 2294717 w 10562846"/>
              <a:gd name="connsiteY3" fmla="*/ 4794064 h 5657661"/>
              <a:gd name="connsiteX4" fmla="*/ 1200045 w 10562846"/>
              <a:gd name="connsiteY4" fmla="*/ 4072264 h 5657661"/>
              <a:gd name="connsiteX5" fmla="*/ 0 w 10562846"/>
              <a:gd name="connsiteY5" fmla="*/ 4798085 h 5657661"/>
              <a:gd name="connsiteX6" fmla="*/ 1253 w 10562846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6" h="5657661">
                <a:moveTo>
                  <a:pt x="10562333" y="0"/>
                </a:moveTo>
                <a:lnTo>
                  <a:pt x="10562846" y="5657661"/>
                </a:lnTo>
                <a:cubicBezTo>
                  <a:pt x="10190427" y="4920324"/>
                  <a:pt x="9461842" y="4792975"/>
                  <a:pt x="9024256" y="4808920"/>
                </a:cubicBezTo>
                <a:lnTo>
                  <a:pt x="2294717" y="4794064"/>
                </a:lnTo>
                <a:cubicBezTo>
                  <a:pt x="1854084" y="4794612"/>
                  <a:pt x="1423155" y="4544310"/>
                  <a:pt x="1200045" y="4072264"/>
                </a:cubicBezTo>
                <a:cubicBezTo>
                  <a:pt x="964689" y="4750718"/>
                  <a:pt x="278640" y="4797207"/>
                  <a:pt x="0" y="4798085"/>
                </a:cubicBezTo>
                <a:cubicBezTo>
                  <a:pt x="418" y="3198723"/>
                  <a:pt x="835" y="1599362"/>
                  <a:pt x="1253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3F0AF-19B9-48BA-9B3F-07CAFA6CA6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RIME DATA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430D80-F794-4BF3-82C1-4E757C252B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-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Vijji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, Mathew &amp;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Komala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918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E4F59-BE2A-45D2-95C4-F9CD3ED2E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ADE7EF-4719-4FA5-99DD-C69EB578D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600" y="1295400"/>
            <a:ext cx="3532801" cy="43973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99011DD-3C12-4010-B96F-01D738D8209A}"/>
              </a:ext>
            </a:extLst>
          </p:cNvPr>
          <p:cNvSpPr txBox="1"/>
          <p:nvPr/>
        </p:nvSpPr>
        <p:spPr>
          <a:xfrm>
            <a:off x="914400" y="1905000"/>
            <a:ext cx="4191000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nalyze 10 years of DC crime data, detect patterns, and answer below</a:t>
            </a:r>
          </a:p>
          <a:p>
            <a:endParaRPr lang="en-US" sz="1600" dirty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at method &amp; type of Crime across years in DC ar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uring which time of the day crime happ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district &amp;quad has the highest level of Crime &amp; what type of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weapon is more used Gun or Kni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omicides using Gun across DC</a:t>
            </a:r>
          </a:p>
        </p:txBody>
      </p:sp>
    </p:spTree>
    <p:extLst>
      <p:ext uri="{BB962C8B-B14F-4D97-AF65-F5344CB8AC3E}">
        <p14:creationId xmlns:p14="http://schemas.microsoft.com/office/powerpoint/2010/main" val="4741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4B7BE-8C71-4B20-B455-E7164FD65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in Analysi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C2C992B-24A3-4CC5-963E-0DC723CEC09F}"/>
              </a:ext>
            </a:extLst>
          </p:cNvPr>
          <p:cNvSpPr/>
          <p:nvPr/>
        </p:nvSpPr>
        <p:spPr>
          <a:xfrm>
            <a:off x="1981200" y="1524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ollectio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B9C99E-47FC-46D4-9C32-8A871E63E817}"/>
              </a:ext>
            </a:extLst>
          </p:cNvPr>
          <p:cNvSpPr/>
          <p:nvPr/>
        </p:nvSpPr>
        <p:spPr>
          <a:xfrm>
            <a:off x="1981200" y="23622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leanu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54F0DF3-A495-47EE-911E-E1551F389607}"/>
              </a:ext>
            </a:extLst>
          </p:cNvPr>
          <p:cNvSpPr/>
          <p:nvPr/>
        </p:nvSpPr>
        <p:spPr>
          <a:xfrm>
            <a:off x="1981200" y="32004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assific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0FEF370-26BA-482D-B8C2-F70265E5211C}"/>
              </a:ext>
            </a:extLst>
          </p:cNvPr>
          <p:cNvSpPr/>
          <p:nvPr/>
        </p:nvSpPr>
        <p:spPr>
          <a:xfrm>
            <a:off x="1981200" y="4059866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D6FAE36-C658-4F85-ABAA-C57472F78E36}"/>
              </a:ext>
            </a:extLst>
          </p:cNvPr>
          <p:cNvSpPr/>
          <p:nvPr/>
        </p:nvSpPr>
        <p:spPr>
          <a:xfrm>
            <a:off x="1981200" y="4953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isualization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DD9E4F22-43D1-412F-95E5-2F9DEF74B6C0}"/>
              </a:ext>
            </a:extLst>
          </p:cNvPr>
          <p:cNvSpPr/>
          <p:nvPr/>
        </p:nvSpPr>
        <p:spPr>
          <a:xfrm>
            <a:off x="2895600" y="2101701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2D731AFA-2E76-47DF-8F7A-FFC3DE295B9B}"/>
              </a:ext>
            </a:extLst>
          </p:cNvPr>
          <p:cNvSpPr/>
          <p:nvPr/>
        </p:nvSpPr>
        <p:spPr>
          <a:xfrm>
            <a:off x="2895600" y="2938132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7A8C1389-A752-4575-AA0A-384E5F7B631C}"/>
              </a:ext>
            </a:extLst>
          </p:cNvPr>
          <p:cNvSpPr/>
          <p:nvPr/>
        </p:nvSpPr>
        <p:spPr>
          <a:xfrm>
            <a:off x="2895600" y="3788734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289B71F5-8517-48D0-A4CE-05B5631502F9}"/>
              </a:ext>
            </a:extLst>
          </p:cNvPr>
          <p:cNvSpPr/>
          <p:nvPr/>
        </p:nvSpPr>
        <p:spPr>
          <a:xfrm>
            <a:off x="2895600" y="4648200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0ADA81-427A-40D8-BC54-FF0B6A75AC97}"/>
              </a:ext>
            </a:extLst>
          </p:cNvPr>
          <p:cNvSpPr txBox="1"/>
          <p:nvPr/>
        </p:nvSpPr>
        <p:spPr>
          <a:xfrm>
            <a:off x="5696305" y="1447800"/>
            <a:ext cx="2042547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Tools &amp; Libr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yth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pa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numpy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atplotlib.pyplo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seabor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reque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ti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gmaps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plleafle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Jupyter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xcel (cs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gmaps</a:t>
            </a:r>
            <a:r>
              <a:rPr lang="en-US" sz="1400" dirty="0"/>
              <a:t> AP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tHu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103493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C14AC-E0B4-415A-97A5-99E7D3254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ype &amp; Metho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78D0DB-4AA0-44ED-A308-127475A42051}"/>
              </a:ext>
            </a:extLst>
          </p:cNvPr>
          <p:cNvSpPr txBox="1"/>
          <p:nvPr/>
        </p:nvSpPr>
        <p:spPr>
          <a:xfrm>
            <a:off x="2209800" y="4495800"/>
            <a:ext cx="5396029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less violent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high crime rate before year 200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umber of crimes stayed almost same for 7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ducing trend of over all and violent crime starting year 201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112EB19-BBC0-4802-91A2-84320D71DD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356" y="1600200"/>
            <a:ext cx="4314444" cy="27801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DA54B7-E9F0-4523-BA51-70C5C1FAD0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058" y="1600200"/>
            <a:ext cx="4203586" cy="261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592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119C2-9676-4D8D-AD69-6C4484778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ime of cri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464FAD-106C-43C4-BDBD-C6384B89EC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1143000"/>
            <a:ext cx="4445032" cy="23972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459188-F8B7-4FEE-9280-67B85B77C5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" y="3293819"/>
            <a:ext cx="5469588" cy="280218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E64FBEA-49BF-4AE7-BC06-EB89884BD5FD}"/>
              </a:ext>
            </a:extLst>
          </p:cNvPr>
          <p:cNvSpPr txBox="1"/>
          <p:nvPr/>
        </p:nvSpPr>
        <p:spPr>
          <a:xfrm>
            <a:off x="344490" y="160020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crime rate is observed during afternoon time, but they are mostly non-viol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FD0D95-451D-4216-82BC-AC6C3B1F16E8}"/>
              </a:ext>
            </a:extLst>
          </p:cNvPr>
          <p:cNvSpPr txBox="1"/>
          <p:nvPr/>
        </p:nvSpPr>
        <p:spPr>
          <a:xfrm>
            <a:off x="5399120" y="3848876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ft is common and most happening crime throughout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iolent crimes like Homicide happens past midnight but relatively insignificant during other time of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minimal sexual abuse </a:t>
            </a:r>
          </a:p>
        </p:txBody>
      </p:sp>
    </p:spTree>
    <p:extLst>
      <p:ext uri="{BB962C8B-B14F-4D97-AF65-F5344CB8AC3E}">
        <p14:creationId xmlns:p14="http://schemas.microsoft.com/office/powerpoint/2010/main" val="3582521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E9B85-2813-408D-9443-43F9B0543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across districts &amp; qua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8D4367-5D1C-4BAA-A661-C6EEB88B35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238510"/>
            <a:ext cx="2672234" cy="200417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5DF7C0-5295-4D12-A3A0-E875AE29E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4260407"/>
            <a:ext cx="2504049" cy="18586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942AAC-C32D-4AB6-B201-5FC029CE0E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7615" y="1770061"/>
            <a:ext cx="2532619" cy="20025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D2743E-6D6E-4FA8-853F-157A3212A6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2829" y="1779838"/>
            <a:ext cx="2532888" cy="201999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5F3E393-6397-4682-A64C-EFFE84607AAB}"/>
              </a:ext>
            </a:extLst>
          </p:cNvPr>
          <p:cNvCxnSpPr/>
          <p:nvPr/>
        </p:nvCxnSpPr>
        <p:spPr>
          <a:xfrm>
            <a:off x="4191000" y="1676400"/>
            <a:ext cx="0" cy="419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88458F5-14C0-4806-A4D7-5704800F2B40}"/>
              </a:ext>
            </a:extLst>
          </p:cNvPr>
          <p:cNvSpPr txBox="1"/>
          <p:nvPr/>
        </p:nvSpPr>
        <p:spPr>
          <a:xfrm>
            <a:off x="344490" y="1600200"/>
            <a:ext cx="36941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istrict 6 &amp; 7 have lesser number of crimes, but most of them is Violent crim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DA9554-906E-4098-B4C3-7FB96437BFE5}"/>
              </a:ext>
            </a:extLst>
          </p:cNvPr>
          <p:cNvSpPr txBox="1"/>
          <p:nvPr/>
        </p:nvSpPr>
        <p:spPr>
          <a:xfrm>
            <a:off x="4724400" y="4114800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part of DC is the high crime and unsafe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SouthWest</a:t>
            </a:r>
            <a:r>
              <a:rPr lang="en-US" sz="1400" dirty="0"/>
              <a:t> has very minimal crimes and the most safe area in entire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NorthWest</a:t>
            </a:r>
            <a:r>
              <a:rPr lang="en-US" sz="1400" dirty="0"/>
              <a:t>, though has significant number of crime, it is mostly non violent</a:t>
            </a:r>
          </a:p>
        </p:txBody>
      </p:sp>
    </p:spTree>
    <p:extLst>
      <p:ext uri="{BB962C8B-B14F-4D97-AF65-F5344CB8AC3E}">
        <p14:creationId xmlns:p14="http://schemas.microsoft.com/office/powerpoint/2010/main" val="2451560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B3353-B1E3-439A-A470-2A541C00D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Vs </a:t>
            </a:r>
            <a:r>
              <a:rPr lang="en-US" dirty="0" err="1"/>
              <a:t>Knief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706073-6F07-416C-970E-BD0C0B76D0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9489" y="1981200"/>
            <a:ext cx="5751511" cy="27140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FBA7C3-EB8A-425E-AB10-7FC766C3E1A6}"/>
              </a:ext>
            </a:extLst>
          </p:cNvPr>
          <p:cNvSpPr txBox="1"/>
          <p:nvPr/>
        </p:nvSpPr>
        <p:spPr>
          <a:xfrm>
            <a:off x="2782888" y="503938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n an average, across years, Gun is the most used weapon in all crimes</a:t>
            </a:r>
          </a:p>
        </p:txBody>
      </p:sp>
    </p:spTree>
    <p:extLst>
      <p:ext uri="{BB962C8B-B14F-4D97-AF65-F5344CB8AC3E}">
        <p14:creationId xmlns:p14="http://schemas.microsoft.com/office/powerpoint/2010/main" val="432707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85CF5-1F84-4895-A990-1CB5256D7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Homic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1D119E-61F3-4DF9-AE95-2A24B52D0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312" y="2857500"/>
            <a:ext cx="9477375" cy="2857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0DB37C-EF62-40D9-9A71-CF1E97A4F03C}"/>
              </a:ext>
            </a:extLst>
          </p:cNvPr>
          <p:cNvSpPr txBox="1"/>
          <p:nvPr/>
        </p:nvSpPr>
        <p:spPr>
          <a:xfrm>
            <a:off x="2209800" y="1295400"/>
            <a:ext cx="5867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Quad has the most crimes (homicides) with G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few crime in Southwest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ven in high crime Quads, crime happens mostly on specific areas</a:t>
            </a:r>
          </a:p>
        </p:txBody>
      </p:sp>
    </p:spTree>
    <p:extLst>
      <p:ext uri="{BB962C8B-B14F-4D97-AF65-F5344CB8AC3E}">
        <p14:creationId xmlns:p14="http://schemas.microsoft.com/office/powerpoint/2010/main" val="2018995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EE4FD8E-D99A-4165-A4FC-88540FCF2AEE}"/>
              </a:ext>
            </a:extLst>
          </p:cNvPr>
          <p:cNvSpPr txBox="1"/>
          <p:nvPr/>
        </p:nvSpPr>
        <p:spPr>
          <a:xfrm>
            <a:off x="1905000" y="1676400"/>
            <a:ext cx="5824671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ummary &amp; Conclusion:</a:t>
            </a:r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rate of theft/burglary/robb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rtheast is the most un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uthwest is the most 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usage of Gun then knife or any other weap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verall crime is reducing significantly in the past 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BIM LD_ICON Template_v1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IM L&amp;D-ICON Template_closing slides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48B182F3EAE34BBFA4D32E35342C3A" ma:contentTypeVersion="0" ma:contentTypeDescription="Create a new document." ma:contentTypeScope="" ma:versionID="a49065153fea45a24750a994a1c7b1c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A3F83F-D8BD-4389-809A-CC423FE000A6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010ABBF-803D-43C1-867C-6289C32546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626933-1B2A-46A2-BE1B-B746FB7890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IM LD_ICON Template_v1</Template>
  <TotalTime>2497</TotalTime>
  <Words>357</Words>
  <Application>Microsoft Office PowerPoint</Application>
  <PresentationFormat>A4 Paper (210x297 mm)</PresentationFormat>
  <Paragraphs>84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Arial Narrow</vt:lpstr>
      <vt:lpstr>Calibri</vt:lpstr>
      <vt:lpstr>Courier New</vt:lpstr>
      <vt:lpstr>Wingdings</vt:lpstr>
      <vt:lpstr>BIM LD_ICON Template_v1</vt:lpstr>
      <vt:lpstr>BIM L&amp;D-ICON Template_closing slides</vt:lpstr>
      <vt:lpstr>think-cell Slide</vt:lpstr>
      <vt:lpstr>CRIME DATA ANALYSIS</vt:lpstr>
      <vt:lpstr>Objective</vt:lpstr>
      <vt:lpstr>Steps in Analysis</vt:lpstr>
      <vt:lpstr>Crime pattern – Type &amp; Method</vt:lpstr>
      <vt:lpstr>Crime pattern – Time of crime</vt:lpstr>
      <vt:lpstr>Patterns across districts &amp; quads</vt:lpstr>
      <vt:lpstr>Gun Vs Knief</vt:lpstr>
      <vt:lpstr>Gun Homicide</vt:lpstr>
      <vt:lpstr>PowerPoint Presentation</vt:lpstr>
    </vt:vector>
  </TitlesOfParts>
  <Company>Capgemini India Pvt.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Learning Algorithms</dc:title>
  <dc:creator>Shrikanth Jagannathan</dc:creator>
  <dc:description>An overview of Machine Learning Algorithms, their use, applications and scope. BIM ICON series run by BIM LnD team. Sep 18, 2014</dc:description>
  <cp:lastModifiedBy>Chandran, Komala</cp:lastModifiedBy>
  <cp:revision>271</cp:revision>
  <dcterms:created xsi:type="dcterms:W3CDTF">2014-01-02T05:38:23Z</dcterms:created>
  <dcterms:modified xsi:type="dcterms:W3CDTF">2018-10-18T03:4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48B182F3EAE34BBFA4D32E35342C3A</vt:lpwstr>
  </property>
</Properties>
</file>